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99" r:id="rId4"/>
  </p:sldMasterIdLst>
  <p:notesMasterIdLst>
    <p:notesMasterId r:id="rId8"/>
  </p:notesMasterIdLst>
  <p:sldIdLst>
    <p:sldId id="2147470352" r:id="rId5"/>
    <p:sldId id="2147471231" r:id="rId6"/>
    <p:sldId id="2147471230" r:id="rId7"/>
  </p:sldIdLst>
  <p:sldSz cx="12192000" cy="6858000"/>
  <p:notesSz cx="7010400" cy="92964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254F513-AE27-2538-7F37-7A6B7977578F}" name="Whit Bernard" initials="WB" userId="Whit Bernard" providerId="None"/>
  <p188:author id="{C3D142B0-1626-A402-9F44-F39EBFB49FBD}" name="Eshan Vasudeva" initials="EV" userId="S::eshan.vasudeva@populationhp.com::8fd6d2dc-4408-45c9-b9c9-302955e1321f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352"/>
    <a:srgbClr val="DE5900"/>
    <a:srgbClr val="DE5A00"/>
    <a:srgbClr val="003A28"/>
    <a:srgbClr val="FFCEB3"/>
    <a:srgbClr val="FFE1D1"/>
    <a:srgbClr val="E06258"/>
    <a:srgbClr val="D5FFF2"/>
    <a:srgbClr val="A24200"/>
    <a:srgbClr val="FF5A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622" autoAdjust="0"/>
    <p:restoredTop sz="94648"/>
  </p:normalViewPr>
  <p:slideViewPr>
    <p:cSldViewPr snapToGrid="0">
      <p:cViewPr varScale="1">
        <p:scale>
          <a:sx n="93" d="100"/>
          <a:sy n="93" d="100"/>
        </p:scale>
        <p:origin x="63" y="7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-874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microsoft.com/office/2018/10/relationships/authors" Target="authors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amsin Berry" userId="32f5ebfa-d486-4276-a07c-3f8828238428" providerId="ADAL" clId="{CD1ECF14-82CC-4BE1-A882-FCC2BC59DDE7}"/>
    <pc:docChg chg="addSld">
      <pc:chgData name="Tamsin Berry" userId="32f5ebfa-d486-4276-a07c-3f8828238428" providerId="ADAL" clId="{CD1ECF14-82CC-4BE1-A882-FCC2BC59DDE7}" dt="2023-07-03T13:23:04.254" v="0" actId="680"/>
      <pc:docMkLst>
        <pc:docMk/>
      </pc:docMkLst>
      <pc:sldChg chg="new">
        <pc:chgData name="Tamsin Berry" userId="32f5ebfa-d486-4276-a07c-3f8828238428" providerId="ADAL" clId="{CD1ECF14-82CC-4BE1-A882-FCC2BC59DDE7}" dt="2023-07-03T13:23:04.254" v="0" actId="680"/>
        <pc:sldMkLst>
          <pc:docMk/>
          <pc:sldMk cId="3357059053" sldId="2147471231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B9F37364-4253-4BC9-BBFD-9C4FDEE23315}" type="datetimeFigureOut">
              <a:rPr lang="en-US" smtClean="0"/>
              <a:t>7/3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42E9F67F-724E-4669-BC51-C8A1C148C3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41733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3.emf"/><Relationship Id="rId4" Type="http://schemas.openxmlformats.org/officeDocument/2006/relationships/image" Target="../media/image4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CEE3E01-E9DA-4092-A27B-6EC7A72142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5838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CEE3E01-E9DA-4092-A27B-6EC7A7214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D4E5D5EC-54B3-44D2-BE33-871FC1F840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3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B4A5A04-FA96-457E-BD4F-8D7DE6059F5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8724" y="1778000"/>
            <a:ext cx="10445186" cy="2229039"/>
          </a:xfrm>
          <a:prstGeom prst="rect">
            <a:avLst/>
          </a:prstGeom>
        </p:spPr>
        <p:txBody>
          <a:bodyPr vert="horz" lIns="0" anchor="b">
            <a:normAutofit/>
          </a:bodyPr>
          <a:lstStyle>
            <a:lvl1pPr algn="l">
              <a:lnSpc>
                <a:spcPct val="80000"/>
              </a:lnSpc>
              <a:defRPr sz="4000" b="1" i="0" spc="-50" baseline="0">
                <a:solidFill>
                  <a:schemeClr val="accent1"/>
                </a:solidFill>
                <a:latin typeface="Gill Sans" panose="020B0502020104020203" pitchFamily="34" charset="-79"/>
                <a:cs typeface="Gill Sans" panose="020B0502020104020203" pitchFamily="34" charset="-79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1E63D79D-FA26-4C8B-BB56-793ED849EDA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724" y="4090893"/>
            <a:ext cx="10451006" cy="1029820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algn="l">
              <a:buNone/>
              <a:defRPr sz="2400" b="0">
                <a:solidFill>
                  <a:schemeClr val="accent5"/>
                </a:solidFill>
                <a:latin typeface="Candara" panose="020E0502030303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732730B9-E286-0049-90BA-CE84B84D1D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8724" y="5461870"/>
            <a:ext cx="3200400" cy="365125"/>
          </a:xfrm>
        </p:spPr>
        <p:txBody>
          <a:bodyPr lIns="0">
            <a:normAutofit/>
          </a:bodyPr>
          <a:lstStyle>
            <a:lvl1pPr marL="0" indent="0">
              <a:buNone/>
              <a:defRPr sz="1200" b="0">
                <a:solidFill>
                  <a:schemeClr val="accent5"/>
                </a:solidFill>
                <a:latin typeface="Candara" panose="020E0502030303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513850E-D368-6082-2038-319DE050CF5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 t="2815" b="2815"/>
          <a:stretch/>
        </p:blipFill>
        <p:spPr>
          <a:xfrm>
            <a:off x="197697" y="376730"/>
            <a:ext cx="3418905" cy="912424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FD4D6C2-6185-7BA6-594A-953C700715A9}"/>
              </a:ext>
            </a:extLst>
          </p:cNvPr>
          <p:cNvCxnSpPr/>
          <p:nvPr userDrawn="1"/>
        </p:nvCxnSpPr>
        <p:spPr>
          <a:xfrm>
            <a:off x="458724" y="4007039"/>
            <a:ext cx="11272416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84194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9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ar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9">
            <a:extLst>
              <a:ext uri="{FF2B5EF4-FFF2-40B4-BE49-F238E27FC236}">
                <a16:creationId xmlns:a16="http://schemas.microsoft.com/office/drawing/2014/main" id="{90EC8A67-C222-1570-FC76-73283A84E7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724" y="325588"/>
            <a:ext cx="11261165" cy="536415"/>
          </a:xfrm>
          <a:prstGeom prst="rect">
            <a:avLst/>
          </a:prstGeom>
        </p:spPr>
        <p:txBody>
          <a:bodyPr lIns="0" anchor="t"/>
          <a:lstStyle>
            <a:lvl1pPr>
              <a:defRPr sz="2400" b="1" i="0" spc="-50" baseline="0">
                <a:solidFill>
                  <a:schemeClr val="accent1"/>
                </a:solidFill>
                <a:latin typeface="Gill Sans" panose="020B0502020104020203" pitchFamily="34" charset="-79"/>
                <a:cs typeface="Gill Sans" panose="020B0502020104020203" pitchFamily="34" charset="-79"/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AC84BFD-C099-B833-4BB0-393D222708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024" y="656482"/>
            <a:ext cx="11274552" cy="469900"/>
          </a:xfrm>
        </p:spPr>
        <p:txBody>
          <a:bodyPr lIns="0">
            <a:normAutofit/>
          </a:bodyPr>
          <a:lstStyle>
            <a:lvl1pPr>
              <a:defRPr sz="24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361033A-20F6-9872-733F-FCE006C12459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58724" y="1454911"/>
            <a:ext cx="11274552" cy="4497709"/>
          </a:xfrm>
        </p:spPr>
        <p:txBody>
          <a:bodyPr l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C60BF2B5-F244-1ACE-2DE8-E01B0C5DDBEB}"/>
              </a:ext>
            </a:extLst>
          </p:cNvPr>
          <p:cNvCxnSpPr>
            <a:cxnSpLocks/>
          </p:cNvCxnSpPr>
          <p:nvPr userDrawn="1"/>
        </p:nvCxnSpPr>
        <p:spPr>
          <a:xfrm>
            <a:off x="458724" y="1160675"/>
            <a:ext cx="11274552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2FD03754-254E-CF28-E536-ECF19940F30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66046" y="6114979"/>
            <a:ext cx="457201" cy="457200"/>
          </a:xfrm>
          <a:prstGeom prst="rect">
            <a:avLst/>
          </a:prstGeom>
        </p:spPr>
        <p:txBody>
          <a:bodyPr lIns="0" anchor="ctr"/>
          <a:lstStyle>
            <a:lvl1pPr>
              <a:defRPr sz="1400" spc="-50" baseline="0">
                <a:solidFill>
                  <a:schemeClr val="bg2"/>
                </a:solidFill>
                <a:latin typeface="Candara" panose="020E0502030303020204" pitchFamily="34" charset="0"/>
              </a:defRPr>
            </a:lvl1pPr>
          </a:lstStyle>
          <a:p>
            <a:fld id="{F0D6E494-49D5-4155-9E52-425437BF7D9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9B50686-B547-F9DF-784F-B4D3CBB1D516}"/>
              </a:ext>
            </a:extLst>
          </p:cNvPr>
          <p:cNvCxnSpPr>
            <a:cxnSpLocks/>
          </p:cNvCxnSpPr>
          <p:nvPr userDrawn="1"/>
        </p:nvCxnSpPr>
        <p:spPr>
          <a:xfrm>
            <a:off x="418214" y="6116779"/>
            <a:ext cx="11315062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E677AD99-72CC-0D7F-56C8-4B0389CE02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93369" y="6114979"/>
            <a:ext cx="10080259" cy="4572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marL="0" algn="l" defTabSz="914400" rtl="0" eaLnBrk="1" latinLnBrk="0" hangingPunct="1">
              <a:defRPr lang="en-US" sz="1200" kern="1200" spc="-50" baseline="0" smtClean="0">
                <a:solidFill>
                  <a:schemeClr val="bg2"/>
                </a:solidFill>
                <a:latin typeface="Candara" panose="020E05020303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/>
              <a:t>Confidential  |  Month 2023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00565BA-6481-5A4E-BA7A-C990F19C91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81843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ary Slide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7CFAF608-3FA7-8C85-363F-0DBBFF44561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52024" y="1458871"/>
            <a:ext cx="5297735" cy="4497709"/>
          </a:xfrm>
        </p:spPr>
        <p:txBody>
          <a:bodyPr l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1B5119-8865-0CF0-6368-C529DACA52E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435542" y="1458871"/>
            <a:ext cx="5277480" cy="4497705"/>
          </a:xfrm>
        </p:spPr>
        <p:txBody>
          <a:bodyPr l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7" name="Title 9">
            <a:extLst>
              <a:ext uri="{FF2B5EF4-FFF2-40B4-BE49-F238E27FC236}">
                <a16:creationId xmlns:a16="http://schemas.microsoft.com/office/drawing/2014/main" id="{2FEC398D-416D-E91C-2CD0-ECEA3A845A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725" y="325588"/>
            <a:ext cx="11254296" cy="536415"/>
          </a:xfrm>
          <a:prstGeom prst="rect">
            <a:avLst/>
          </a:prstGeom>
        </p:spPr>
        <p:txBody>
          <a:bodyPr lIns="0" anchor="t"/>
          <a:lstStyle>
            <a:lvl1pPr>
              <a:defRPr sz="2400" b="1" i="0" spc="-50" baseline="0">
                <a:solidFill>
                  <a:schemeClr val="accent1"/>
                </a:solidFill>
                <a:latin typeface="Gill Sans" panose="020B0502020104020203" pitchFamily="34" charset="-79"/>
                <a:cs typeface="Gill Sans" panose="020B0502020104020203" pitchFamily="34" charset="-79"/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64F6A4B8-1230-D302-8F9A-EEB6E13260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023" y="656482"/>
            <a:ext cx="11267675" cy="469900"/>
          </a:xfrm>
        </p:spPr>
        <p:txBody>
          <a:bodyPr lIns="0">
            <a:normAutofit/>
          </a:bodyPr>
          <a:lstStyle>
            <a:lvl1pPr>
              <a:defRPr sz="24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F158B2A-21F7-FAFF-E17A-3D1FBA429C67}"/>
              </a:ext>
            </a:extLst>
          </p:cNvPr>
          <p:cNvCxnSpPr>
            <a:cxnSpLocks/>
          </p:cNvCxnSpPr>
          <p:nvPr userDrawn="1"/>
        </p:nvCxnSpPr>
        <p:spPr>
          <a:xfrm>
            <a:off x="458724" y="1160675"/>
            <a:ext cx="11274552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Slide Number Placeholder 3">
            <a:extLst>
              <a:ext uri="{FF2B5EF4-FFF2-40B4-BE49-F238E27FC236}">
                <a16:creationId xmlns:a16="http://schemas.microsoft.com/office/drawing/2014/main" id="{72B7C099-2B1F-2C0A-C5AD-CF8CBDC8653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66046" y="6114979"/>
            <a:ext cx="457201" cy="457200"/>
          </a:xfrm>
          <a:prstGeom prst="rect">
            <a:avLst/>
          </a:prstGeom>
        </p:spPr>
        <p:txBody>
          <a:bodyPr lIns="0" anchor="ctr"/>
          <a:lstStyle>
            <a:lvl1pPr>
              <a:defRPr sz="1400" spc="-50" baseline="0">
                <a:solidFill>
                  <a:schemeClr val="bg2"/>
                </a:solidFill>
                <a:latin typeface="Candara" panose="020E0502030303020204" pitchFamily="34" charset="0"/>
              </a:defRPr>
            </a:lvl1pPr>
          </a:lstStyle>
          <a:p>
            <a:fld id="{F0D6E494-49D5-4155-9E52-425437BF7D9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5663A1F-7315-C38D-7E2D-46213DA2DB14}"/>
              </a:ext>
            </a:extLst>
          </p:cNvPr>
          <p:cNvCxnSpPr>
            <a:cxnSpLocks/>
          </p:cNvCxnSpPr>
          <p:nvPr userDrawn="1"/>
        </p:nvCxnSpPr>
        <p:spPr>
          <a:xfrm>
            <a:off x="418214" y="6116779"/>
            <a:ext cx="11315062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ooter Placeholder 3">
            <a:extLst>
              <a:ext uri="{FF2B5EF4-FFF2-40B4-BE49-F238E27FC236}">
                <a16:creationId xmlns:a16="http://schemas.microsoft.com/office/drawing/2014/main" id="{83923292-A7A2-F1DA-3EB8-0D15EF2062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93369" y="6114979"/>
            <a:ext cx="10080259" cy="4572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marL="0" algn="l" defTabSz="914400" rtl="0" eaLnBrk="1" latinLnBrk="0" hangingPunct="1">
              <a:defRPr lang="en-US" sz="1200" kern="1200" spc="-50" baseline="0" smtClean="0">
                <a:solidFill>
                  <a:schemeClr val="bg2"/>
                </a:solidFill>
                <a:latin typeface="Candara" panose="020E05020303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/>
              <a:t>Confidential  |  Month 2023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E0DD75C3-15CA-AA8B-32F3-386DAC2638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49102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ary Slid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9B92F2B5-7FD5-3F94-21BE-35C298FA30E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52024" y="1461877"/>
            <a:ext cx="3353839" cy="4497705"/>
          </a:xfrm>
        </p:spPr>
        <p:txBody>
          <a:bodyPr l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DD242BDC-FBEB-3449-DF66-AAEEAA458DF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410965" y="1461877"/>
            <a:ext cx="3353839" cy="4497705"/>
          </a:xfrm>
        </p:spPr>
        <p:txBody>
          <a:bodyPr l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9ECE8547-A935-0545-AE1A-847685C1805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66050" y="1461877"/>
            <a:ext cx="3353839" cy="4497705"/>
          </a:xfrm>
        </p:spPr>
        <p:txBody>
          <a:bodyPr l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22" name="Title 9">
            <a:extLst>
              <a:ext uri="{FF2B5EF4-FFF2-40B4-BE49-F238E27FC236}">
                <a16:creationId xmlns:a16="http://schemas.microsoft.com/office/drawing/2014/main" id="{ADBFCA2D-CC7B-46C4-23EA-3FDB3823C4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724" y="325588"/>
            <a:ext cx="11261165" cy="536415"/>
          </a:xfrm>
          <a:prstGeom prst="rect">
            <a:avLst/>
          </a:prstGeom>
        </p:spPr>
        <p:txBody>
          <a:bodyPr lIns="0" anchor="t"/>
          <a:lstStyle>
            <a:lvl1pPr>
              <a:defRPr sz="2400" b="1" i="0" spc="-50" baseline="0">
                <a:solidFill>
                  <a:schemeClr val="accent1"/>
                </a:solidFill>
                <a:latin typeface="Gill Sans" panose="020B0502020104020203" pitchFamily="34" charset="-79"/>
                <a:cs typeface="Gill Sans" panose="020B0502020104020203" pitchFamily="34" charset="-79"/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5133CAD0-2DC7-2D3B-2954-0DC4A62F371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2024" y="656482"/>
            <a:ext cx="11274552" cy="469900"/>
          </a:xfrm>
        </p:spPr>
        <p:txBody>
          <a:bodyPr lIns="0">
            <a:normAutofit/>
          </a:bodyPr>
          <a:lstStyle>
            <a:lvl1pPr>
              <a:defRPr sz="24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F586417D-FAF6-F717-1848-5724E0F601E5}"/>
              </a:ext>
            </a:extLst>
          </p:cNvPr>
          <p:cNvCxnSpPr>
            <a:cxnSpLocks/>
          </p:cNvCxnSpPr>
          <p:nvPr userDrawn="1"/>
        </p:nvCxnSpPr>
        <p:spPr>
          <a:xfrm>
            <a:off x="458724" y="1160675"/>
            <a:ext cx="11274552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Slide Number Placeholder 3">
            <a:extLst>
              <a:ext uri="{FF2B5EF4-FFF2-40B4-BE49-F238E27FC236}">
                <a16:creationId xmlns:a16="http://schemas.microsoft.com/office/drawing/2014/main" id="{1F92F369-7D4C-E641-F055-D88B780E02F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66046" y="6114979"/>
            <a:ext cx="457201" cy="457200"/>
          </a:xfrm>
          <a:prstGeom prst="rect">
            <a:avLst/>
          </a:prstGeom>
        </p:spPr>
        <p:txBody>
          <a:bodyPr lIns="0" anchor="ctr"/>
          <a:lstStyle>
            <a:lvl1pPr>
              <a:defRPr sz="1400" spc="-50" baseline="0">
                <a:solidFill>
                  <a:schemeClr val="bg2"/>
                </a:solidFill>
                <a:latin typeface="Candara" panose="020E0502030303020204" pitchFamily="34" charset="0"/>
              </a:defRPr>
            </a:lvl1pPr>
          </a:lstStyle>
          <a:p>
            <a:fld id="{F0D6E494-49D5-4155-9E52-425437BF7D9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5C1A748-22B1-DD1A-E2E0-07FF9CF738A5}"/>
              </a:ext>
            </a:extLst>
          </p:cNvPr>
          <p:cNvCxnSpPr>
            <a:cxnSpLocks/>
          </p:cNvCxnSpPr>
          <p:nvPr userDrawn="1"/>
        </p:nvCxnSpPr>
        <p:spPr>
          <a:xfrm>
            <a:off x="418214" y="6116779"/>
            <a:ext cx="11315062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ooter Placeholder 3">
            <a:extLst>
              <a:ext uri="{FF2B5EF4-FFF2-40B4-BE49-F238E27FC236}">
                <a16:creationId xmlns:a16="http://schemas.microsoft.com/office/drawing/2014/main" id="{35E65C21-D86A-45A4-ABE1-7CD953DF4D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93369" y="6114979"/>
            <a:ext cx="10080259" cy="4572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marL="0" algn="l" defTabSz="914400" rtl="0" eaLnBrk="1" latinLnBrk="0" hangingPunct="1">
              <a:defRPr lang="en-US" sz="1200" kern="1200" spc="-50" baseline="0" smtClean="0">
                <a:solidFill>
                  <a:schemeClr val="bg2"/>
                </a:solidFill>
                <a:latin typeface="Candara" panose="020E05020303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/>
              <a:t>Confidential  |  Month 2023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45AEFE18-8C4B-8A33-DFFC-D7AFCAA89C3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69950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ary Slide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9">
            <a:extLst>
              <a:ext uri="{FF2B5EF4-FFF2-40B4-BE49-F238E27FC236}">
                <a16:creationId xmlns:a16="http://schemas.microsoft.com/office/drawing/2014/main" id="{C9974485-2D0E-FAEA-D0DB-A49D808D1F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724" y="325588"/>
            <a:ext cx="11261165" cy="536415"/>
          </a:xfrm>
          <a:prstGeom prst="rect">
            <a:avLst/>
          </a:prstGeom>
        </p:spPr>
        <p:txBody>
          <a:bodyPr lIns="0" anchor="t"/>
          <a:lstStyle>
            <a:lvl1pPr>
              <a:defRPr sz="2400" b="1" i="0" spc="-50" baseline="0">
                <a:solidFill>
                  <a:schemeClr val="accent1"/>
                </a:solidFill>
                <a:latin typeface="Gill Sans" panose="020B0502020104020203" pitchFamily="34" charset="-79"/>
                <a:cs typeface="Gill Sans" panose="020B0502020104020203" pitchFamily="34" charset="-79"/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64570818-F557-452A-3488-71F7A2F6FCD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024" y="656482"/>
            <a:ext cx="11274552" cy="469900"/>
          </a:xfrm>
        </p:spPr>
        <p:txBody>
          <a:bodyPr lIns="0">
            <a:normAutofit/>
          </a:bodyPr>
          <a:lstStyle>
            <a:lvl1pPr>
              <a:defRPr sz="24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98BE4002-6DAA-423F-C293-AA0F2CF0AE7A}"/>
              </a:ext>
            </a:extLst>
          </p:cNvPr>
          <p:cNvCxnSpPr>
            <a:cxnSpLocks/>
          </p:cNvCxnSpPr>
          <p:nvPr userDrawn="1"/>
        </p:nvCxnSpPr>
        <p:spPr>
          <a:xfrm>
            <a:off x="458724" y="1160675"/>
            <a:ext cx="11274552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Slide Number Placeholder 3">
            <a:extLst>
              <a:ext uri="{FF2B5EF4-FFF2-40B4-BE49-F238E27FC236}">
                <a16:creationId xmlns:a16="http://schemas.microsoft.com/office/drawing/2014/main" id="{7B3A7369-F9CF-7CE0-7888-EA95B952D3C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66046" y="6114979"/>
            <a:ext cx="457201" cy="457200"/>
          </a:xfrm>
          <a:prstGeom prst="rect">
            <a:avLst/>
          </a:prstGeom>
        </p:spPr>
        <p:txBody>
          <a:bodyPr lIns="0" anchor="ctr"/>
          <a:lstStyle>
            <a:lvl1pPr>
              <a:defRPr sz="1400" spc="-50" baseline="0">
                <a:solidFill>
                  <a:schemeClr val="bg2"/>
                </a:solidFill>
                <a:latin typeface="Candara" panose="020E0502030303020204" pitchFamily="34" charset="0"/>
              </a:defRPr>
            </a:lvl1pPr>
          </a:lstStyle>
          <a:p>
            <a:fld id="{F0D6E494-49D5-4155-9E52-425437BF7D9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A4092C6-FE61-9E75-D143-B0F2F6CE928B}"/>
              </a:ext>
            </a:extLst>
          </p:cNvPr>
          <p:cNvCxnSpPr>
            <a:cxnSpLocks/>
          </p:cNvCxnSpPr>
          <p:nvPr userDrawn="1"/>
        </p:nvCxnSpPr>
        <p:spPr>
          <a:xfrm>
            <a:off x="418214" y="6116779"/>
            <a:ext cx="11315062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Footer Placeholder 3">
            <a:extLst>
              <a:ext uri="{FF2B5EF4-FFF2-40B4-BE49-F238E27FC236}">
                <a16:creationId xmlns:a16="http://schemas.microsoft.com/office/drawing/2014/main" id="{ECDE42AD-82B8-E3CF-30E8-CA2B35DC83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93369" y="6114979"/>
            <a:ext cx="10080259" cy="4572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marL="0" algn="l" defTabSz="914400" rtl="0" eaLnBrk="1" latinLnBrk="0" hangingPunct="1">
              <a:defRPr lang="en-US" sz="1200" kern="1200" spc="-50" baseline="0" smtClean="0">
                <a:solidFill>
                  <a:schemeClr val="bg2"/>
                </a:solidFill>
                <a:latin typeface="Candara" panose="020E05020303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/>
              <a:t>Confidential  |  Month 2023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D71D5A74-ED12-A033-4545-B3A67A24F57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99615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ary Slide Break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B98505-CFE9-94CB-E6AB-503D4256D6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822767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B98505-CFE9-94CB-E6AB-503D4256D6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9">
            <a:extLst>
              <a:ext uri="{FF2B5EF4-FFF2-40B4-BE49-F238E27FC236}">
                <a16:creationId xmlns:a16="http://schemas.microsoft.com/office/drawing/2014/main" id="{A771E4BF-CECF-5FE2-230C-C09CC46BD0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724" y="447868"/>
            <a:ext cx="11274552" cy="5267121"/>
          </a:xfrm>
          <a:prstGeom prst="rect">
            <a:avLst/>
          </a:prstGeom>
        </p:spPr>
        <p:txBody>
          <a:bodyPr lIns="0" anchor="ctr"/>
          <a:lstStyle>
            <a:lvl1pPr>
              <a:lnSpc>
                <a:spcPct val="80000"/>
              </a:lnSpc>
              <a:defRPr sz="4000" b="1" i="0" spc="-50" baseline="0">
                <a:solidFill>
                  <a:schemeClr val="tx1"/>
                </a:solidFill>
                <a:latin typeface="Gill Sans" panose="020B0502020104020203" pitchFamily="34" charset="-79"/>
                <a:cs typeface="Gill Sans" panose="020B0502020104020203" pitchFamily="34" charset="-79"/>
              </a:defRPr>
            </a:lvl1pPr>
          </a:lstStyle>
          <a:p>
            <a:r>
              <a:rPr lang="en-US" dirty="0"/>
              <a:t>CLICK TO EDIT BREAK SLIDE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0ECA7860-4A01-FCE9-D4AA-90E07D8E3F6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66046" y="6114979"/>
            <a:ext cx="457201" cy="457200"/>
          </a:xfrm>
          <a:prstGeom prst="rect">
            <a:avLst/>
          </a:prstGeom>
        </p:spPr>
        <p:txBody>
          <a:bodyPr lIns="0" anchor="ctr"/>
          <a:lstStyle>
            <a:lvl1pPr>
              <a:defRPr sz="1400" spc="-50" baseline="0">
                <a:solidFill>
                  <a:schemeClr val="tx1"/>
                </a:solidFill>
                <a:latin typeface="Candara" panose="020E0502030303020204" pitchFamily="34" charset="0"/>
              </a:defRPr>
            </a:lvl1pPr>
          </a:lstStyle>
          <a:p>
            <a:fld id="{F0D6E494-49D5-4155-9E52-425437BF7D9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62880A3-9F60-5AA4-0905-83D714193A66}"/>
              </a:ext>
            </a:extLst>
          </p:cNvPr>
          <p:cNvCxnSpPr>
            <a:cxnSpLocks/>
          </p:cNvCxnSpPr>
          <p:nvPr userDrawn="1"/>
        </p:nvCxnSpPr>
        <p:spPr>
          <a:xfrm>
            <a:off x="418214" y="6116779"/>
            <a:ext cx="11315062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2E9186F8-3821-0675-CCC4-A192E27ED0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93369" y="6114979"/>
            <a:ext cx="10080259" cy="4572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marL="0" algn="l" defTabSz="914400" rtl="0" eaLnBrk="1" latinLnBrk="0" hangingPunct="1">
              <a:defRPr lang="en-US" sz="1200" kern="1200" spc="-50" baseline="0" smtClean="0">
                <a:solidFill>
                  <a:schemeClr val="tx1"/>
                </a:solidFill>
                <a:latin typeface="Candara" panose="020E05020303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/>
              <a:t>Confidential  |  Month 2023</a:t>
            </a: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69786D8-F6F4-F7E4-9BAF-C7A91A7B9BD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34190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9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4669A-3965-4574-AE08-023D5B9A75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909033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4669A-3965-4574-AE08-023D5B9A75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3A21BD4-7ED6-49C2-8F9D-399A4343D23A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Footer Placeholder 3">
            <a:extLst>
              <a:ext uri="{FF2B5EF4-FFF2-40B4-BE49-F238E27FC236}">
                <a16:creationId xmlns:a16="http://schemas.microsoft.com/office/drawing/2014/main" id="{4A7151B9-1C44-6246-8C23-5044ABE740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2775" y="6221369"/>
            <a:ext cx="3114739" cy="4620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algn="l"/>
            <a:r>
              <a:rPr lang="en-US"/>
              <a:t>Confidential  |  Month 2023</a:t>
            </a:r>
            <a:endParaRPr lang="en-US" dirty="0"/>
          </a:p>
        </p:txBody>
      </p: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C4788BE5-9378-D14A-9E2E-5551132EDA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2776" y="361456"/>
            <a:ext cx="11172467" cy="831194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43D021ED-74DD-514E-A630-410E504345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2775" y="1370073"/>
            <a:ext cx="11172468" cy="4643854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37701928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4" r:id="rId2"/>
    <p:sldLayoutId id="2147483712" r:id="rId3"/>
    <p:sldLayoutId id="2147483705" r:id="rId4"/>
    <p:sldLayoutId id="2147483706" r:id="rId5"/>
    <p:sldLayoutId id="2147483702" r:id="rId6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600" b="1" i="0" kern="1200">
          <a:solidFill>
            <a:schemeClr val="accent1"/>
          </a:solidFill>
          <a:latin typeface="Franklin Gothic Heavy" panose="020B0603020102020204" pitchFamily="34" charset="0"/>
          <a:ea typeface="Tahoma" panose="020B0604030504040204" pitchFamily="34" charset="0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4"/>
        </a:buClr>
        <a:buFont typeface="Arial" panose="020B0604020202020204" pitchFamily="34" charset="0"/>
        <a:buNone/>
        <a:defRPr sz="2000" b="1" i="0" kern="1200" spc="-50" baseline="0">
          <a:solidFill>
            <a:schemeClr val="tx2"/>
          </a:solidFill>
          <a:latin typeface="Candara" panose="020E0502030303020204" pitchFamily="34" charset="0"/>
          <a:ea typeface="Tahoma" panose="020B0604030504040204" pitchFamily="34" charset="0"/>
          <a:cs typeface="Arial" panose="020B0604020202020204" pitchFamily="34" charset="0"/>
        </a:defRPr>
      </a:lvl1pPr>
      <a:lvl2pPr marL="0" indent="0" algn="l" defTabSz="914400" rtl="0" eaLnBrk="1" latinLnBrk="0" hangingPunct="1">
        <a:lnSpc>
          <a:spcPct val="100000"/>
        </a:lnSpc>
        <a:spcBef>
          <a:spcPts val="800"/>
        </a:spcBef>
        <a:buClr>
          <a:schemeClr val="accent1"/>
        </a:buClr>
        <a:buFont typeface="Arial" panose="020B0604020202020204" pitchFamily="34" charset="0"/>
        <a:buNone/>
        <a:tabLst/>
        <a:defRPr sz="2000" b="0" kern="1200" spc="-50" baseline="0">
          <a:solidFill>
            <a:schemeClr val="tx2"/>
          </a:solidFill>
          <a:latin typeface="+mn-lt"/>
          <a:ea typeface="Tahoma" panose="020B0604030504040204" pitchFamily="34" charset="0"/>
          <a:cs typeface="Arial" panose="020B0604020202020204" pitchFamily="34" charset="0"/>
        </a:defRPr>
      </a:lvl2pPr>
      <a:lvl3pPr marL="354013" indent="-354013" algn="l" defTabSz="914400" rtl="0" eaLnBrk="1" latinLnBrk="0" hangingPunct="1">
        <a:lnSpc>
          <a:spcPct val="100000"/>
        </a:lnSpc>
        <a:spcBef>
          <a:spcPts val="0"/>
        </a:spcBef>
        <a:buClr>
          <a:schemeClr val="accent5"/>
        </a:buClr>
        <a:buFont typeface="Arial" panose="020B0604020202020204" pitchFamily="34" charset="0"/>
        <a:buChar char="•"/>
        <a:tabLst/>
        <a:defRPr sz="2000" b="0" i="0" kern="1200" spc="-50" baseline="0">
          <a:solidFill>
            <a:schemeClr val="tx2"/>
          </a:solidFill>
          <a:latin typeface="+mn-lt"/>
          <a:ea typeface="Tahoma" panose="020B0604030504040204" pitchFamily="34" charset="0"/>
          <a:cs typeface="Arial" panose="020B0604020202020204" pitchFamily="34" charset="0"/>
        </a:defRPr>
      </a:lvl3pPr>
      <a:lvl4pPr marL="695325" indent="-341313" algn="l" defTabSz="914400" rtl="0" eaLnBrk="1" latinLnBrk="0" hangingPunct="1">
        <a:lnSpc>
          <a:spcPct val="100000"/>
        </a:lnSpc>
        <a:spcBef>
          <a:spcPts val="0"/>
        </a:spcBef>
        <a:buClr>
          <a:schemeClr val="accent5"/>
        </a:buClr>
        <a:buSzPct val="100000"/>
        <a:buFont typeface="Arial" panose="020B0604020202020204" pitchFamily="34" charset="0"/>
        <a:buChar char="•"/>
        <a:tabLst/>
        <a:defRPr sz="2000" b="0" i="0" kern="1200" spc="-50" baseline="0">
          <a:solidFill>
            <a:schemeClr val="tx2"/>
          </a:solidFill>
          <a:latin typeface="+mn-lt"/>
          <a:ea typeface="Tahoma" panose="020B0604030504040204" pitchFamily="34" charset="0"/>
          <a:cs typeface="Arial" panose="020B0604020202020204" pitchFamily="34" charset="0"/>
        </a:defRPr>
      </a:lvl4pPr>
      <a:lvl5pPr marL="1036638" indent="-341313" algn="l" defTabSz="914400" rtl="0" eaLnBrk="1" latinLnBrk="0" hangingPunct="1">
        <a:lnSpc>
          <a:spcPct val="100000"/>
        </a:lnSpc>
        <a:spcBef>
          <a:spcPts val="0"/>
        </a:spcBef>
        <a:buClr>
          <a:schemeClr val="accent5"/>
        </a:buClr>
        <a:buFont typeface="Arial" panose="020B0604020202020204" pitchFamily="34" charset="0"/>
        <a:buChar char="•"/>
        <a:tabLst/>
        <a:defRPr sz="2000" b="0" i="0" kern="1200" spc="-50" baseline="0">
          <a:solidFill>
            <a:schemeClr val="tx2"/>
          </a:solidFill>
          <a:latin typeface="+mn-lt"/>
          <a:ea typeface="Tahoma" panose="020B0604030504040204" pitchFamily="34" charset="0"/>
          <a:cs typeface="Arial" panose="020B0604020202020204" pitchFamily="34" charset="0"/>
        </a:defRPr>
      </a:lvl5pPr>
      <a:lvl6pPr marL="1422400" indent="-342900" algn="l" defTabSz="914400" rtl="0" eaLnBrk="1" latinLnBrk="0" hangingPunct="1">
        <a:lnSpc>
          <a:spcPct val="100000"/>
        </a:lnSpc>
        <a:spcBef>
          <a:spcPts val="0"/>
        </a:spcBef>
        <a:buClr>
          <a:schemeClr val="accent5"/>
        </a:buClr>
        <a:buFont typeface="Arial" panose="020B0604020202020204" pitchFamily="34" charset="0"/>
        <a:buChar char="•"/>
        <a:tabLst/>
        <a:defRPr sz="2000" b="0" i="0" kern="1200" spc="-50" baseline="0">
          <a:solidFill>
            <a:schemeClr val="tx2"/>
          </a:solidFill>
          <a:latin typeface="Candara" panose="020E0502030303020204" pitchFamily="34" charset="0"/>
          <a:ea typeface="Tahoma" panose="020B0604030504040204" pitchFamily="34" charset="0"/>
          <a:cs typeface="Tahoma" panose="020B0604030504040204" pitchFamily="34" charset="0"/>
        </a:defRPr>
      </a:lvl6pPr>
      <a:lvl7pPr marL="0" indent="0" algn="l" defTabSz="914400" rtl="0" eaLnBrk="1" latinLnBrk="0" hangingPunct="1">
        <a:lnSpc>
          <a:spcPct val="100000"/>
        </a:lnSpc>
        <a:spcBef>
          <a:spcPts val="500"/>
        </a:spcBef>
        <a:buFont typeface="Arial"/>
        <a:buNone/>
        <a:tabLst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4" Type="http://schemas.openxmlformats.org/officeDocument/2006/relationships/image" Target="../media/image5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304A84F-5042-9727-9CAB-01D9104F20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26336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26" imgH="526" progId="TCLayout.ActiveDocument.1">
                  <p:embed/>
                </p:oleObj>
              </mc:Choice>
              <mc:Fallback>
                <p:oleObj name="think-cell Slide" r:id="rId3" imgW="526" imgH="5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304A84F-5042-9727-9CAB-01D9104F20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6397F97-21EB-CADB-F2F6-200492F86C0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HEADLIN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5A67340-D0A3-25CE-9657-8884BA6276D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Subhead</a:t>
            </a:r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4A5389E-D67B-CDD3-67F2-5E01528391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May, 2023</a:t>
            </a:r>
          </a:p>
        </p:txBody>
      </p:sp>
    </p:spTree>
    <p:extLst>
      <p:ext uri="{BB962C8B-B14F-4D97-AF65-F5344CB8AC3E}">
        <p14:creationId xmlns:p14="http://schemas.microsoft.com/office/powerpoint/2010/main" val="19271064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B81CB6-7314-DB6E-47C5-F095A3440F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0921853-59F7-ADDA-1CD1-8A8A2978ED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D6E494-49D5-4155-9E52-425437BF7D9A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D876DC2-3398-9138-6BE9-7DA72910A43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nfidential  |  Month 202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70590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F3EEB6B-616A-8C64-CABD-C3D4B83A19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5643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F3EEB6B-616A-8C64-CABD-C3D4B83A19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8A937F18-1A45-5512-A9BB-BFBD4B1352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LIN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74AC010-F695-FBEC-037C-E6BF15DB3D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Subhead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8277A7F5-FB48-D8E7-4F3E-3B4635454C0A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/>
              <a:t>Main Text Level</a:t>
            </a:r>
          </a:p>
          <a:p>
            <a:pPr lvl="1"/>
            <a:r>
              <a:rPr lang="en-US" dirty="0"/>
              <a:t>Secondary Text Level</a:t>
            </a:r>
          </a:p>
          <a:p>
            <a:pPr lvl="2"/>
            <a:r>
              <a:rPr lang="en-US" dirty="0"/>
              <a:t>Bullet Points</a:t>
            </a:r>
          </a:p>
          <a:p>
            <a:pPr lvl="3"/>
            <a:r>
              <a:rPr lang="en-US" dirty="0"/>
              <a:t>Sub Bullets</a:t>
            </a:r>
          </a:p>
          <a:p>
            <a:pPr lvl="4"/>
            <a:r>
              <a:rPr lang="en-US" dirty="0"/>
              <a:t>Sub Bullets 2</a:t>
            </a:r>
          </a:p>
          <a:p>
            <a:pPr lvl="1"/>
            <a:r>
              <a:rPr lang="en-US" dirty="0"/>
              <a:t>Secondary Text Level</a:t>
            </a:r>
          </a:p>
          <a:p>
            <a:pPr lvl="2"/>
            <a:r>
              <a:rPr lang="en-US" dirty="0"/>
              <a:t>Bullet Points</a:t>
            </a:r>
          </a:p>
          <a:p>
            <a:pPr lvl="3"/>
            <a:r>
              <a:rPr lang="en-US" dirty="0"/>
              <a:t>Sub Bullets</a:t>
            </a:r>
          </a:p>
          <a:p>
            <a:pPr lvl="4"/>
            <a:r>
              <a:rPr lang="en-US" dirty="0"/>
              <a:t>Sub Bullets 2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313640A-EE30-AB2D-B2FE-9AAA05BD09C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D6E494-49D5-4155-9E52-425437BF7D9A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E80EE0-04CA-FDB4-EB63-47F65C6979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nfidential  |  Month 2023</a:t>
            </a:r>
          </a:p>
        </p:txBody>
      </p:sp>
    </p:spTree>
    <p:extLst>
      <p:ext uri="{BB962C8B-B14F-4D97-AF65-F5344CB8AC3E}">
        <p14:creationId xmlns:p14="http://schemas.microsoft.com/office/powerpoint/2010/main" val="35558183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01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4&quot;&gt;&lt;elem m_fUsage=&quot;1.81000000000000005329E+00&quot;&gt;&lt;m_msothmcolidx val=&quot;0&quot;/&gt;&lt;m_rgb r=&quot;DE&quot; g=&quot;5A&quot; b=&quot;00&quot;/&gt;&lt;/elem&gt;&lt;elem m_fUsage=&quot;9.00000000000000022204E-01&quot;&gt;&lt;m_msothmcolidx val=&quot;0&quot;/&gt;&lt;m_rgb r=&quot;3F&quot; g=&quot;4B&quot; b=&quot;3F&quot;/&gt;&lt;/elem&gt;&lt;elem m_fUsage=&quot;7.29000000000000092371E-01&quot;&gt;&lt;m_msothmcolidx val=&quot;0&quot;/&gt;&lt;m_rgb r=&quot;40&quot; g=&quot;53&quot; b=&quot;8C&quot;/&gt;&lt;/elem&gt;&lt;elem m_fUsage=&quot;6.56100000000000127542E-01&quot;&gt;&lt;m_msothmcolidx val=&quot;0&quot;/&gt;&lt;m_rgb r=&quot;DF&quot; g=&quot;2D&quot; b=&quot;1F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8baaqDMg62n9TL9FoXr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4U_.AjqLwADg46TpJWZ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in Theme_Confidential">
  <a:themeElements>
    <a:clrScheme name="Metsera">
      <a:dk1>
        <a:srgbClr val="002017"/>
      </a:dk1>
      <a:lt1>
        <a:srgbClr val="FFFFFF"/>
      </a:lt1>
      <a:dk2>
        <a:srgbClr val="3F4041"/>
      </a:dk2>
      <a:lt2>
        <a:srgbClr val="737477"/>
      </a:lt2>
      <a:accent1>
        <a:srgbClr val="003B2A"/>
      </a:accent1>
      <a:accent2>
        <a:srgbClr val="008351"/>
      </a:accent2>
      <a:accent3>
        <a:srgbClr val="61BA49"/>
      </a:accent3>
      <a:accent4>
        <a:srgbClr val="A2E895"/>
      </a:accent4>
      <a:accent5>
        <a:srgbClr val="FF5900"/>
      </a:accent5>
      <a:accent6>
        <a:srgbClr val="F1A33C"/>
      </a:accent6>
      <a:hlink>
        <a:srgbClr val="007FFF"/>
      </a:hlink>
      <a:folHlink>
        <a:srgbClr val="003754"/>
      </a:folHlink>
    </a:clrScheme>
    <a:fontScheme name="Candara">
      <a:majorFont>
        <a:latin typeface="Candara" panose="020E0502030303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andara" panose="020E0502030303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Fractyl-Template-PPT-022421-v02" id="{E1DBE059-9423-224C-8F00-A4906CB9904C}" vid="{29C16914-1C7F-5242-A9B8-AD4E119F605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e1d24c5-b878-439b-8570-a7c8ba6bb6e0" xsi:nil="true"/>
    <lcf76f155ced4ddcb4097134ff3c332f xmlns="d8c535c6-63a4-4339-b449-26eeb0d3d3cb">
      <Terms xmlns="http://schemas.microsoft.com/office/infopath/2007/PartnerControls"/>
    </lcf76f155ced4ddcb4097134ff3c332f>
    <Reason xmlns="d8c535c6-63a4-4339-b449-26eeb0d3d3cb" xsi:nil="true"/>
    <Note xmlns="d8c535c6-63a4-4339-b449-26eeb0d3d3cb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23B5AC5FBBB2C4DB9BE0ED4E2D9D977" ma:contentTypeVersion="16" ma:contentTypeDescription="Create a new document." ma:contentTypeScope="" ma:versionID="96c1099b2a8cc80e3a2a2c9d494c4ea7">
  <xsd:schema xmlns:xsd="http://www.w3.org/2001/XMLSchema" xmlns:xs="http://www.w3.org/2001/XMLSchema" xmlns:p="http://schemas.microsoft.com/office/2006/metadata/properties" xmlns:ns2="d8c535c6-63a4-4339-b449-26eeb0d3d3cb" xmlns:ns3="ce1d24c5-b878-439b-8570-a7c8ba6bb6e0" targetNamespace="http://schemas.microsoft.com/office/2006/metadata/properties" ma:root="true" ma:fieldsID="573075f82de53820268ad61c3f17a697" ns2:_="" ns3:_="">
    <xsd:import namespace="d8c535c6-63a4-4339-b449-26eeb0d3d3cb"/>
    <xsd:import namespace="ce1d24c5-b878-439b-8570-a7c8ba6bb6e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Reason" minOccurs="0"/>
                <xsd:element ref="ns2:MediaLengthInSeconds" minOccurs="0"/>
                <xsd:element ref="ns2:No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8c535c6-63a4-4339-b449-26eeb0d3d3c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e88fe80d-a298-4146-b3b6-c61f938191a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Reason" ma:index="21" nillable="true" ma:displayName="Reason" ma:description="Final Review prior to going LIVE" ma:format="Dropdown" ma:internalName="Reason">
      <xsd:simpleType>
        <xsd:restriction base="dms:Text">
          <xsd:maxLength value="255"/>
        </xsd:restriction>
      </xsd:simple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  <xsd:element name="Note" ma:index="23" nillable="true" ma:displayName="Note" ma:format="Dropdown" ma:internalName="Not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e1d24c5-b878-439b-8570-a7c8ba6bb6e0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52ac7264-13b3-4ad4-bce5-4d183213b293}" ma:internalName="TaxCatchAll" ma:showField="CatchAllData" ma:web="ce1d24c5-b878-439b-8570-a7c8ba6bb6e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CB7CE25-0E07-4002-A83F-50F8BEC7EBB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F2F879D-8863-4808-8589-430CC253668D}">
  <ds:schemaRefs>
    <ds:schemaRef ds:uri="http://www.w3.org/XML/1998/namespace"/>
    <ds:schemaRef ds:uri="d8c535c6-63a4-4339-b449-26eeb0d3d3cb"/>
    <ds:schemaRef ds:uri="http://schemas.microsoft.com/office/infopath/2007/PartnerControls"/>
    <ds:schemaRef ds:uri="http://schemas.microsoft.com/office/2006/metadata/properties"/>
    <ds:schemaRef ds:uri="http://purl.org/dc/dcmitype/"/>
    <ds:schemaRef ds:uri="http://schemas.microsoft.com/office/2006/documentManagement/types"/>
    <ds:schemaRef ds:uri="http://purl.org/dc/elements/1.1/"/>
    <ds:schemaRef ds:uri="ce1d24c5-b878-439b-8570-a7c8ba6bb6e0"/>
    <ds:schemaRef ds:uri="http://purl.org/dc/terms/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67CB894B-B7D0-4614-AF33-49D1B5D9717C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0</Words>
  <Application>Microsoft Office PowerPoint</Application>
  <PresentationFormat>Widescreen</PresentationFormat>
  <Paragraphs>18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1" baseType="lpstr">
      <vt:lpstr>Arial</vt:lpstr>
      <vt:lpstr>Calibri</vt:lpstr>
      <vt:lpstr>Candara</vt:lpstr>
      <vt:lpstr>Franklin Gothic Heavy</vt:lpstr>
      <vt:lpstr>Gill Sans</vt:lpstr>
      <vt:lpstr>Tahoma</vt:lpstr>
      <vt:lpstr>Main Theme_Confidential</vt:lpstr>
      <vt:lpstr>think-cell Slide</vt:lpstr>
      <vt:lpstr>HEADLINE</vt:lpstr>
      <vt:lpstr>PowerPoint Presentation</vt:lpstr>
      <vt:lpstr>HEADLIN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ct daytona</dc:title>
  <dc:creator>Eshan Vasudeva</dc:creator>
  <cp:lastModifiedBy>Tamsin Berry</cp:lastModifiedBy>
  <cp:revision>50</cp:revision>
  <cp:lastPrinted>2022-12-22T18:37:53Z</cp:lastPrinted>
  <dcterms:created xsi:type="dcterms:W3CDTF">2022-10-11T20:38:03Z</dcterms:created>
  <dcterms:modified xsi:type="dcterms:W3CDTF">2023-07-03T13:23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23B5AC5FBBB2C4DB9BE0ED4E2D9D977</vt:lpwstr>
  </property>
  <property fmtid="{D5CDD505-2E9C-101B-9397-08002B2CF9AE}" pid="3" name="MediaServiceImageTags">
    <vt:lpwstr/>
  </property>
</Properties>
</file>